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21"/>
  </p:notesMasterIdLst>
  <p:sldIdLst>
    <p:sldId id="265" r:id="rId3"/>
    <p:sldId id="287" r:id="rId4"/>
    <p:sldId id="286" r:id="rId5"/>
    <p:sldId id="269" r:id="rId6"/>
    <p:sldId id="271" r:id="rId7"/>
    <p:sldId id="277" r:id="rId8"/>
    <p:sldId id="272" r:id="rId9"/>
    <p:sldId id="288" r:id="rId10"/>
    <p:sldId id="259" r:id="rId11"/>
    <p:sldId id="273" r:id="rId12"/>
    <p:sldId id="260" r:id="rId13"/>
    <p:sldId id="289" r:id="rId14"/>
    <p:sldId id="262" r:id="rId15"/>
    <p:sldId id="263" r:id="rId16"/>
    <p:sldId id="280" r:id="rId17"/>
    <p:sldId id="276" r:id="rId18"/>
    <p:sldId id="264" r:id="rId19"/>
    <p:sldId id="284" r:id="rId20"/>
  </p:sldIdLst>
  <p:sldSz cx="12192000" cy="6858000"/>
  <p:notesSz cx="6797675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1-07-0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9531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vardprogramochvardforlopp" TargetMode="External"/><Relationship Id="rId7" Type="http://schemas.openxmlformats.org/officeDocument/2006/relationships/image" Target="../media/image16.png"/><Relationship Id="rId2" Type="http://schemas.openxmlformats.org/officeDocument/2006/relationships/hyperlink" Target="http://www.kunskapsstyrningvard.se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4" Type="http://schemas.openxmlformats.org/officeDocument/2006/relationships/hyperlink" Target="https://kunskapsstyrningvard.se/kunskapsstod/personcentreradesammanhallnavardforlopp/godkandavardforlopp/vardforlopphjartsvikt.1822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://www.socialstyrelsen.se/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3350942" y="2349500"/>
            <a:ext cx="6304046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sammanhållet vårdförlopp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>
                <a:solidFill>
                  <a:srgbClr val="FFFFFF"/>
                </a:solidFill>
                <a:latin typeface="Calibri" panose="020F0502020204030204"/>
              </a:rPr>
              <a:t>Hjärtsvikt - nydebuterad</a:t>
            </a: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826758" y="1483826"/>
            <a:ext cx="2905847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464197"/>
            <a:ext cx="6336000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/>
          <p:cNvSpPr/>
          <p:nvPr/>
        </p:nvSpPr>
        <p:spPr>
          <a:xfrm rot="10800000">
            <a:off x="3780561" y="3780377"/>
            <a:ext cx="504000" cy="216000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pic>
        <p:nvPicPr>
          <p:cNvPr id="14" name="Picture 1"/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26" y="1956080"/>
            <a:ext cx="3415466" cy="4577080"/>
          </a:xfrm>
          <a:prstGeom prst="rect">
            <a:avLst/>
          </a:prstGeom>
          <a:noFill/>
        </p:spPr>
      </p:pic>
      <p:sp>
        <p:nvSpPr>
          <p:cNvPr id="2" name="Rektangel 1"/>
          <p:cNvSpPr/>
          <p:nvPr/>
        </p:nvSpPr>
        <p:spPr>
          <a:xfrm>
            <a:off x="10195701" y="5394504"/>
            <a:ext cx="2002536" cy="118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561995"/>
              </p:ext>
            </p:extLst>
          </p:nvPr>
        </p:nvGraphicFramePr>
        <p:xfrm>
          <a:off x="4572896" y="1956080"/>
          <a:ext cx="6335738" cy="457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79702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756036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) Behandling</a:t>
                      </a:r>
                      <a:endParaRPr lang="sv-SE" sz="1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sv-SE" sz="1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uretika</a:t>
                      </a:r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d behov är snabbverkande symtomlindring vid ödem oavsett typ av hjärtsvikt.</a:t>
                      </a:r>
                    </a:p>
                    <a:p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handling kan inledas med ACEI om inget talar emot i väntan på ekokardiografi. </a:t>
                      </a:r>
                    </a:p>
                    <a:p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sa åtgärder genomförs inom 14–30 kalenderdagar från remissdatum (se Utredningsblock (A)).</a:t>
                      </a:r>
                      <a:endParaRPr lang="sv-SE" sz="16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omföra de åtgärder som gemensamt överenskommits i egenvårdsplanen, utifrån behov och patientens önskan samt förmåga. </a:t>
                      </a:r>
                    </a:p>
                    <a:p>
                      <a:pPr lvl="0"/>
                      <a:endParaRPr lang="sv-SE" sz="1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genvårdsplanen kan innehålla egenkontroller gällande vanliga hjärtsviktssymtom och tecken, som andfåddhet, bensvullnad, viktökning, intag av……</a:t>
                      </a:r>
                    </a:p>
                    <a:p>
                      <a:pPr lvl="0"/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……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46319" y="598096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4846319" y="2002536"/>
            <a:ext cx="6814407" cy="30723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>
              <a:spcBef>
                <a:spcPts val="600"/>
              </a:spcBef>
            </a:pP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Fler patienter kan upptäckas tidigt i sin sjukdom och få behandling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Fler patienter ska få tidig tillgång till teambaserad vård med hjärtsviktmottagning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Tillgång till fysisk träning inom hjärtrehabilitering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Patienter ska ha individuellt upptrappad medicinsk behandling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412529" cy="662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6305512" y="234732"/>
            <a:ext cx="9144000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270913" y="1142677"/>
            <a:ext cx="5770291" cy="2707520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Alla beslut om utredning, behandling och rehabilitering ska ske i samråd med patienten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Den hjärtsviktsmottagning som patienten är kopplad till är central för patientens individuella vårdplan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Mottagningen arbetar med patienten i centrum, samordnar vården och hänvisar till rätt vårdinstans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En egenvårdsplan med överenskomna åtgärder tas fram och dokumenteras. </a:t>
            </a:r>
          </a:p>
        </p:txBody>
      </p:sp>
      <p:sp>
        <p:nvSpPr>
          <p:cNvPr id="7" name="Rektangel 6"/>
          <p:cNvSpPr/>
          <p:nvPr/>
        </p:nvSpPr>
        <p:spPr>
          <a:xfrm>
            <a:off x="6305512" y="3710237"/>
            <a:ext cx="5284548" cy="1794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sp>
        <p:nvSpPr>
          <p:cNvPr id="8" name="textruta 7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68" r="15819"/>
          <a:stretch/>
        </p:blipFill>
        <p:spPr>
          <a:xfrm>
            <a:off x="246769" y="0"/>
            <a:ext cx="5806559" cy="666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7466" y="755494"/>
            <a:ext cx="9592053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Uppföljning för vårdförloppet hjärtsvikt</a:t>
            </a:r>
            <a:br>
              <a:rPr lang="sv-SE" dirty="0"/>
            </a:br>
            <a:r>
              <a:rPr lang="sv-SE" sz="2000" dirty="0">
                <a:solidFill>
                  <a:srgbClr val="377D7A"/>
                </a:solidFill>
                <a:latin typeface="Calibri" panose="020F0502020204030204"/>
                <a:ea typeface="+mn-ea"/>
                <a:cs typeface="+mn-cs"/>
              </a:rPr>
              <a:t>Register- och indikatorbaserad uppföljning av vårdförloppet kräver utvecklingsarbete och aktivt ställningstagande från regionerna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3799481" y="1226634"/>
            <a:ext cx="4909649" cy="50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A3914D-6AB0-4643-82B5-C41FCC809901}"/>
              </a:ext>
            </a:extLst>
          </p:cNvPr>
          <p:cNvSpPr/>
          <p:nvPr/>
        </p:nvSpPr>
        <p:spPr>
          <a:xfrm>
            <a:off x="540688" y="1697418"/>
            <a:ext cx="5555311" cy="3812836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patienter som avlidit ett år efter hjärtsviktdiagnos. Målvärde sakna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planerad inläggning för hjärtsvikt inom ett år efter hjärtsviktsdiagnos. Målvärde sakna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remisser för ekokardiografi vid välgrundad misstanke om nydebuterad hjärtsvikt som besvaras inom 30 kalenderdagar. Målvärde 90%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med LVEF &lt;40 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som genomfört minst ett uppföljningsbesök inom 30 dagar från diagnos på hjärtsviktsmottagning. Målvärde 90%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med LVEF &lt;40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som hämtat ut recept på ACE-I eller ARB samt betablockad inom 120 dagar från diagnos. Målvärde 90%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med LVEF &lt;40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som hämtat ut recept MRA inom 120 dagar från diagnos. Målvärde 50%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F30D1A-8F25-4810-A47A-39C95C855260}"/>
              </a:ext>
            </a:extLst>
          </p:cNvPr>
          <p:cNvSpPr/>
          <p:nvPr/>
        </p:nvSpPr>
        <p:spPr>
          <a:xfrm>
            <a:off x="6254306" y="1710596"/>
            <a:ext cx="5497722" cy="379965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med LVEF &lt;50 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, och 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m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som genomfört ett individuellt besök till fysioterapeut inom specialiserad hjärtrehabilitering inom 90 dagar för bedömning med pre-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exercise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 screening, inkluderat test av fysisk kapacitet och förskrivning av individuellt anpassat träningsprogram inom hjärtrehabilitering. Målvärde 80%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med LVEF &lt;40 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som genomgått uppföljande ekokardiografi inom 180 dagar från diagnos. Målvärde 80%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Andel patienter med hjärtsvikt som efter insatt första linjens behandling har kvarvarande LVEF &lt;40 % (</a:t>
            </a:r>
            <a:r>
              <a:rPr lang="sv-SE" sz="1400" dirty="0" err="1">
                <a:solidFill>
                  <a:srgbClr val="000000"/>
                </a:solidFill>
                <a:cs typeface="Arial" panose="020B0604020202020204" pitchFamily="34" charset="0"/>
              </a:rPr>
              <a:t>HFrEF</a:t>
            </a:r>
            <a:r>
              <a:rPr lang="sv-SE" sz="1400" dirty="0">
                <a:solidFill>
                  <a:srgbClr val="000000"/>
                </a:solidFill>
                <a:cs typeface="Arial" panose="020B0604020202020204" pitchFamily="34" charset="0"/>
              </a:rPr>
              <a:t>) på kontroll-ekokardiografi och som hämtat ut recept på ARNI inom 180 dagar från diagnos. Målvärde saknas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472" y="755494"/>
            <a:ext cx="1023016" cy="7541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984468" y="5881198"/>
            <a:ext cx="9209431" cy="4387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sv-SE" i="1" dirty="0"/>
              <a:t>Data för några indikatorer kan i princip hämtas från kvalitetsregistret RiksSvikt. </a:t>
            </a:r>
            <a:endParaRPr kumimoji="0" lang="sv-SE" sz="1600" b="0" i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FA1D06-CE48-4110-8485-A9D28524682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64" y="5723573"/>
            <a:ext cx="754004" cy="754004"/>
          </a:xfrm>
          <a:prstGeom prst="rect">
            <a:avLst/>
          </a:prstGeom>
          <a:noFill/>
        </p:spPr>
      </p:pic>
      <p:sp>
        <p:nvSpPr>
          <p:cNvPr id="16" name="textruta 15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4344437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Tidigare diagnos för fler patien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Tidigare insatt behandling och därmed förlängt liv, ökat välmående för patienterna och färre sjukhusinläggninga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Ökad trygghet för patienterna då fler får tillgång till hjärtsviktsmottagning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ler patienter får anpassad fysisk träning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ler patienter får individuellt anpassad behand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Risk för längre väntetid för ekokardiografi för andra patientgrupper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Risk för ökat antal ekokardiografiundersökninga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Svårigheter att öka kapaciteten på hjärtsviktsmottagningar i landet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Svårigheter att möta behoven av fysioterapeuter med utbildning inom hjärtsvikt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6506CDB5-7F3F-4DAF-B872-1BC8872ABD7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10" name="textruta 9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 fontScale="85000" lnSpcReduction="20000"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7787789" y="307505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7631389"/>
              </p:ext>
            </p:extLst>
          </p:nvPr>
        </p:nvGraphicFramePr>
        <p:xfrm>
          <a:off x="580293" y="889892"/>
          <a:ext cx="10351410" cy="568464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995114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88363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472665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/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ette Karlström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. Fysioterape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Norrbotten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a Strömberg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. Sjuksköters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Linköpin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78315722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jörn Eriksson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alist i allmänmedicin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tockholm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jörn Kornhall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 och 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åne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jörn </a:t>
                      </a:r>
                      <a:r>
                        <a:rPr lang="sv-SE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nnentheil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ientrepresentant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ksförbundet </a:t>
                      </a:r>
                      <a:r>
                        <a:rPr lang="sv-SE" sz="16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järtLun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in </a:t>
                      </a:r>
                      <a:r>
                        <a:rPr lang="sv-SE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rovic</a:t>
                      </a: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abrera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 och 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tockholm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arlotta Ljungman (tom Juni 2020)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arlotte Arvidsson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 läkare i allmänmedicin, specialistläkare i internmedicin och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Jönköpin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tarina </a:t>
                      </a:r>
                      <a:r>
                        <a:rPr lang="sv-SE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imburg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. Fysioterape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åne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ister Lindmark (ordförande)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 och 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</a:t>
                      </a:r>
                      <a:r>
                        <a:rPr lang="sv-SE" sz="1600" baseline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Västerbotten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ia Liljeroos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. Sjuksköterska med specialistkompetens inom hjärtsvik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örmland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chael </a:t>
                      </a:r>
                      <a:r>
                        <a:rPr lang="sv-SE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</a:t>
                      </a: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sv-SE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.o.m</a:t>
                      </a: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Juni 2020)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 och 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6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ric Karlström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 och specialist i kardiolog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Region Jönköpin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2320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ri Puttonen (processledare)</a:t>
                      </a: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. Sjuksköterska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 Västmanland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Personcentrerat och sammanhållet vårdförlopp för hjärtsvikt - nydebuterad</a:t>
            </a:r>
          </a:p>
        </p:txBody>
      </p:sp>
      <p:sp>
        <p:nvSpPr>
          <p:cNvPr id="7" name="Rektangel 6"/>
          <p:cNvSpPr/>
          <p:nvPr/>
        </p:nvSpPr>
        <p:spPr>
          <a:xfrm>
            <a:off x="895252" y="1327613"/>
            <a:ext cx="103796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2400" i="1" dirty="0">
                <a:solidFill>
                  <a:schemeClr val="accent1"/>
                </a:solidFill>
              </a:rPr>
              <a:t>Vårdförloppet inleds vid välgrundad misstanke om nydebuterad eller nyupptäckt hjärtsvikt och avslutas senast efter ställningstagande till andra linjens behandling.</a:t>
            </a:r>
            <a:endParaRPr lang="sv-SE" sz="2400" dirty="0">
              <a:solidFill>
                <a:schemeClr val="accent1"/>
              </a:solidFill>
            </a:endParaRP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310624"/>
            <a:ext cx="4896000" cy="342000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järtsvikt är en vanlig och allvarlig sjukdom där utredning och behandling skiljer sig åt i landet</a:t>
            </a:r>
            <a:endParaRPr lang="sv-SE" sz="20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Rätt insatta åtgärder i rätt tid minskar lidande, förlänger liv och sparar resurser åt vården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årdförloppet inriktar sig på de åtgärder som har starkast rekommendationsgrad och där det finns störst skillnader i landet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13457" y="2310624"/>
            <a:ext cx="4896000" cy="342000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e viktigaste åtgärderna är: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nabb tillgång till ekokardiografi vid välgrundad misstanke om hjärtsvik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dividuellt anpassad och upptrappad behandling inom rimlig tid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illgång till hjärtsviktsmottagning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illgång till fysisk träning inom hjärtrehabilitering</a:t>
            </a:r>
          </a:p>
          <a:p>
            <a:pPr lvl="0">
              <a:lnSpc>
                <a:spcPct val="115000"/>
              </a:lnSpc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 rot="18892177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sv-S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manfattning</a:t>
            </a:r>
          </a:p>
        </p:txBody>
      </p:sp>
    </p:spTree>
    <p:extLst>
      <p:ext uri="{BB962C8B-B14F-4D97-AF65-F5344CB8AC3E}">
        <p14:creationId xmlns:p14="http://schemas.microsoft.com/office/powerpoint/2010/main" val="42494269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58087" y="467800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0365" y="1383288"/>
            <a:ext cx="5148385" cy="418529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2"/>
              </a:rPr>
              <a:t>www.kunskapsstyrningvard.se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3"/>
              </a:rPr>
              <a:t>NKK</a:t>
            </a:r>
            <a:endParaRPr lang="sv-SE" dirty="0"/>
          </a:p>
        </p:txBody>
      </p:sp>
      <p:sp>
        <p:nvSpPr>
          <p:cNvPr id="8" name="textruta 7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sp>
        <p:nvSpPr>
          <p:cNvPr id="12" name="Rektangel 11"/>
          <p:cNvSpPr/>
          <p:nvPr/>
        </p:nvSpPr>
        <p:spPr>
          <a:xfrm>
            <a:off x="6401166" y="5874282"/>
            <a:ext cx="146456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LÄNK:</a:t>
            </a:r>
            <a:endParaRPr lang="sv-SE" sz="1100" dirty="0">
              <a:solidFill>
                <a:srgbClr val="000000"/>
              </a:solidFill>
              <a:latin typeface="Calibri"/>
              <a:hlinkClick r:id="rId5"/>
            </a:endParaRP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6"/>
          <a:srcRect l="19410" t="17364" r="20518" b="21430"/>
          <a:stretch/>
        </p:blipFill>
        <p:spPr>
          <a:xfrm>
            <a:off x="7865732" y="1249005"/>
            <a:ext cx="3692434" cy="2116184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ktangel 14"/>
          <p:cNvSpPr/>
          <p:nvPr/>
        </p:nvSpPr>
        <p:spPr>
          <a:xfrm>
            <a:off x="6401166" y="4858619"/>
            <a:ext cx="444126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200" b="1" dirty="0"/>
              <a:t>Filmer</a:t>
            </a:r>
            <a:r>
              <a:rPr lang="sv-SE" sz="1200" dirty="0"/>
              <a:t> </a:t>
            </a:r>
          </a:p>
          <a:p>
            <a:r>
              <a:rPr lang="sv-SE" sz="1200" dirty="0"/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</a:p>
        </p:txBody>
      </p:sp>
      <p:pic>
        <p:nvPicPr>
          <p:cNvPr id="14" name="Bildobjekt 13"/>
          <p:cNvPicPr>
            <a:picLocks noChangeAspect="1"/>
          </p:cNvPicPr>
          <p:nvPr/>
        </p:nvPicPr>
        <p:blipFill rotWithShape="1">
          <a:blip r:embed="rId7"/>
          <a:srcRect l="20428" t="19457" r="21162" b="22174"/>
          <a:stretch/>
        </p:blipFill>
        <p:spPr>
          <a:xfrm>
            <a:off x="6467744" y="2620948"/>
            <a:ext cx="3675928" cy="2066259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3820" y="1477001"/>
            <a:ext cx="5488969" cy="3661927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291" y="587659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8291" y="1754572"/>
            <a:ext cx="6254884" cy="3767604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73"/>
          <a:stretch/>
        </p:blipFill>
        <p:spPr>
          <a:xfrm>
            <a:off x="6771936" y="1284511"/>
            <a:ext cx="5420064" cy="433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0" y="630174"/>
            <a:ext cx="9594591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Personcentrerat och sammanhållet vårdförlopp för nydebuterad hjärtsvik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1942011"/>
            <a:ext cx="4797295" cy="4625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gång till vårdförloppet ska ske vid välgrundad misstanke:</a:t>
            </a:r>
          </a:p>
          <a:p>
            <a:pPr>
              <a:spcBef>
                <a:spcPts val="600"/>
              </a:spcBef>
              <a:defRPr/>
            </a:pPr>
            <a:r>
              <a:rPr lang="sv-SE" sz="1600" dirty="0">
                <a:solidFill>
                  <a:schemeClr val="tx1"/>
                </a:solidFill>
              </a:rPr>
              <a:t>Förhöjt NT-</a:t>
            </a:r>
            <a:r>
              <a:rPr lang="sv-SE" sz="1600" dirty="0" err="1">
                <a:solidFill>
                  <a:schemeClr val="tx1"/>
                </a:solidFill>
              </a:rPr>
              <a:t>proBNP</a:t>
            </a:r>
            <a:r>
              <a:rPr lang="sv-SE" sz="1600" dirty="0">
                <a:solidFill>
                  <a:schemeClr val="tx1"/>
                </a:solidFill>
              </a:rPr>
              <a:t> värde samt flera av nedanstående symtom och kliniska fynd hos en patient, mer sällan endast ett, kan ge misstanke om hjärtsvikt: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Andfåddhet 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Trötthe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Sänkt fysisk kapacite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Ödem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Svårigheter att sova i planläge på grund av andfåddhet (</a:t>
            </a:r>
            <a:r>
              <a:rPr lang="sv-SE" sz="1600" dirty="0" err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ortopné</a:t>
            </a: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Buksvullnad och svullna vener på halsen (halsvenstas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Patologiskt EKG (EKG bör alltid tas vid misstanke om hjärtsvikt).</a:t>
            </a:r>
          </a:p>
        </p:txBody>
      </p:sp>
      <p:sp>
        <p:nvSpPr>
          <p:cNvPr id="2" name="Rektangel 1"/>
          <p:cNvSpPr/>
          <p:nvPr/>
        </p:nvSpPr>
        <p:spPr>
          <a:xfrm>
            <a:off x="885524" y="1164800"/>
            <a:ext cx="101029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600" i="1" dirty="0">
                <a:solidFill>
                  <a:schemeClr val="accent1"/>
                </a:solidFill>
              </a:rPr>
              <a:t>Vårdförloppet inleds vid välgrundad misstanke om nydebuterad eller nyupptäckt hjärtsvikt och avslutas senast efter ställningstagande till andra linjens behandling.</a:t>
            </a:r>
            <a:endParaRPr lang="sv-SE" sz="1600" dirty="0">
              <a:solidFill>
                <a:schemeClr val="accent1"/>
              </a:solidFill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10321047" y="5272391"/>
            <a:ext cx="1870953" cy="1295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452563" y="1942011"/>
            <a:ext cx="4700771" cy="46257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115000"/>
              </a:lnSpc>
              <a:defRPr/>
            </a:pPr>
            <a:r>
              <a:rPr lang="sv-SE" sz="16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tgång från vårdförloppet kan ske på följande sätt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Ekokardiografin</a:t>
            </a: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ger inga hållpunkter för hjärtsvikt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Ekokardiografin</a:t>
            </a: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visar en huvuddiagnos som gör den normala behandlingen vid vänsterkammarsvikt olämplig eller i vissa fall till och med riskabel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HFrEF</a:t>
            </a: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är bekräftad och åtgärder i flödesschemat är utförda samt att ekokardiografikontroll och ställningstagande till andra linjens behandling är genomförd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 err="1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HFmrEF</a:t>
            </a: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är bekräftad och åtgärderna i flödesschemat är utförda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HFpEF är bekräftad och åtgärderna i flödesschemat är utförda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1600" dirty="0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029200" y="187957"/>
            <a:ext cx="5129956" cy="609793"/>
          </a:xfrm>
        </p:spPr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5029200" y="1140297"/>
            <a:ext cx="7000435" cy="4161278"/>
          </a:xfr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>
            <a:normAutofit fontScale="47500" lnSpcReduction="20000"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sv-SE" sz="2100" dirty="0"/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/>
              <a:t>Väntetider på ekokardiografi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llgång till hjärtsviktsmottagn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llgång till fysisk träning inom hjärtrehabilit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ljsamhet till första linjens läkemedelsbehandl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mplantationsfrekvens av ICD (implanterbar defibrillator)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sz="51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mplantation av CRT (sviktpacemaker)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r="41868"/>
          <a:stretch/>
        </p:blipFill>
        <p:spPr>
          <a:xfrm>
            <a:off x="0" y="0"/>
            <a:ext cx="4626377" cy="664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198554" y="743300"/>
            <a:ext cx="7548664" cy="959040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328808" y="2456318"/>
            <a:ext cx="7288157" cy="2660431"/>
          </a:xfr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>
            <a:normAutofit lnSpcReduction="10000"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Socialstyrelsen. Nationella riktlinjer för hjärtsjukvård- Stöd för styrning och ledning [Internet]. 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  <a:hlinkClick r:id="rId2"/>
              </a:rPr>
              <a:t>www.socialstyrelsen.se</a:t>
            </a: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European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Society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Cardiology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–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Guidelines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for the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diagnosis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treatment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acute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chronic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heart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failure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: The Task Force for the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diagnosis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treatment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acute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and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chronic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heart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failure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the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European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Society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Cardiology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(ESC).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Eur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00000"/>
                </a:solidFill>
                <a:cs typeface="Arial" panose="020B0604020202020204" pitchFamily="34" charset="0"/>
              </a:rPr>
              <a:t>Heart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 J 37(27):2129-2200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2" t="21573" r="7634"/>
          <a:stretch/>
        </p:blipFill>
        <p:spPr>
          <a:xfrm>
            <a:off x="0" y="0"/>
            <a:ext cx="3952808" cy="6656833"/>
          </a:xfrm>
          <a:prstGeom prst="rect">
            <a:avLst/>
          </a:prstGeom>
        </p:spPr>
      </p:pic>
      <p:sp>
        <p:nvSpPr>
          <p:cNvPr id="7" name="textruta 6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866274" y="314367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4" y="2685207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Vården utreder inte alltid patientens symtom på hjärtsvikt</a:t>
            </a: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5" y="3582256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Väntetider för ultraljud är långa och kan medföra ohälsa och oro</a:t>
            </a: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5" y="4479305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Många patienter får inte tillgång till behandling enligt riktlinjer</a:t>
            </a:r>
            <a:endParaRPr lang="sv-SE" dirty="0"/>
          </a:p>
        </p:txBody>
      </p:sp>
      <p:sp>
        <p:nvSpPr>
          <p:cNvPr id="11" name="Platshållare för text 4"/>
          <p:cNvSpPr txBox="1">
            <a:spLocks/>
          </p:cNvSpPr>
          <p:nvPr/>
        </p:nvSpPr>
        <p:spPr>
          <a:xfrm>
            <a:off x="4603004" y="5376355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5) Flera vårdgivare skapar målkonflikter och behov av samordning</a:t>
            </a:r>
            <a:endParaRPr lang="sv-SE" dirty="0"/>
          </a:p>
        </p:txBody>
      </p:sp>
      <p:sp>
        <p:nvSpPr>
          <p:cNvPr id="2" name="Högerpil 1"/>
          <p:cNvSpPr/>
          <p:nvPr/>
        </p:nvSpPr>
        <p:spPr>
          <a:xfrm>
            <a:off x="4296885" y="1730106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/>
          <p:cNvSpPr/>
          <p:nvPr/>
        </p:nvSpPr>
        <p:spPr>
          <a:xfrm>
            <a:off x="4296885" y="269263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/>
          <p:cNvSpPr/>
          <p:nvPr/>
        </p:nvSpPr>
        <p:spPr>
          <a:xfrm>
            <a:off x="4296885" y="365515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/>
          <p:cNvSpPr/>
          <p:nvPr/>
        </p:nvSpPr>
        <p:spPr>
          <a:xfrm>
            <a:off x="4296885" y="461768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Högerpil 15"/>
          <p:cNvSpPr/>
          <p:nvPr/>
        </p:nvSpPr>
        <p:spPr>
          <a:xfrm>
            <a:off x="4296885" y="5580211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5407270" cy="792000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Rädsla och okunskap gör att patienten väntar med att söka vård</a:t>
            </a:r>
            <a:endParaRPr lang="sv-SE" dirty="0"/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18" name="textruta 17"/>
          <p:cNvSpPr txBox="1"/>
          <p:nvPr/>
        </p:nvSpPr>
        <p:spPr>
          <a:xfrm>
            <a:off x="4603003" y="131866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sp>
        <p:nvSpPr>
          <p:cNvPr id="19" name="textruta 18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5319AD60-4287-41A3-A791-5F6157A9B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495" y="1318668"/>
            <a:ext cx="3538973" cy="506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text 4"/>
          <p:cNvSpPr txBox="1">
            <a:spLocks/>
          </p:cNvSpPr>
          <p:nvPr/>
        </p:nvSpPr>
        <p:spPr>
          <a:xfrm>
            <a:off x="5395981" y="2030506"/>
            <a:ext cx="5919811" cy="2949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9000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järtsvikt är ett vanligt och allvarligt tillstånd som 200 000 – 300 000 Svenskar lider av idag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ödligheten är hög, i synnerhet inom det första året efter diagnos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llståndet är behandlingsbart men underbehandling är vanligt</a:t>
            </a:r>
          </a:p>
          <a:p>
            <a:endParaRPr lang="sv-SE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5981" y="586014"/>
            <a:ext cx="6042984" cy="805559"/>
          </a:xfrm>
        </p:spPr>
        <p:txBody>
          <a:bodyPr>
            <a:noAutofit/>
          </a:bodyPr>
          <a:lstStyle/>
          <a:p>
            <a:r>
              <a:rPr lang="sv-SE" sz="3200" dirty="0">
                <a:solidFill>
                  <a:srgbClr val="5A8695"/>
                </a:solidFill>
              </a:rPr>
              <a:t>Varför behövs ett vårdförlopp för nydebuterad hjärtsvikt ?</a:t>
            </a:r>
          </a:p>
        </p:txBody>
      </p:sp>
      <p:pic>
        <p:nvPicPr>
          <p:cNvPr id="12" name="Platshållare för bild 11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53" r="23595"/>
          <a:stretch/>
        </p:blipFill>
        <p:spPr>
          <a:xfrm>
            <a:off x="-1" y="0"/>
            <a:ext cx="4970569" cy="6651812"/>
          </a:xfrm>
        </p:spPr>
      </p:pic>
      <p:sp>
        <p:nvSpPr>
          <p:cNvPr id="10" name="textruta 9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</p:spTree>
    <p:extLst>
      <p:ext uri="{BB962C8B-B14F-4D97-AF65-F5344CB8AC3E}">
        <p14:creationId xmlns:p14="http://schemas.microsoft.com/office/powerpoint/2010/main" val="7782858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</a:extLst>
          </p:cNvPr>
          <p:cNvSpPr/>
          <p:nvPr/>
        </p:nvSpPr>
        <p:spPr>
          <a:xfrm>
            <a:off x="826817" y="2638700"/>
            <a:ext cx="9305925" cy="329184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spcBef>
                <a:spcPts val="600"/>
              </a:spcBef>
              <a:defRPr/>
            </a:pP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r>
              <a:rPr lang="sv-SE" b="1" dirty="0">
                <a:solidFill>
                  <a:srgbClr val="000000"/>
                </a:solidFill>
                <a:cs typeface="Arial" panose="020B0604020202020204" pitchFamily="34" charset="0"/>
              </a:rPr>
              <a:t>Målen ska nås genom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Tiden till första ekokardiografiundersökning korta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Tiden till optimal behandling korta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Andelen patienter som behandlas vid hjärtsviktsmottagningar ökar, och den behandlingen inkluderar en planering för när och hur patienten ska följas upp och av vilken vårdgivare 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Andelen patienter som får ett individuellt besök hos fysioterapeut i enlighet med vårdförloppet öka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Andelen patienter som erhåller adekvat behandling ökar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817" y="274743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sp>
        <p:nvSpPr>
          <p:cNvPr id="10" name="textruta 9"/>
          <p:cNvSpPr txBox="1"/>
          <p:nvPr/>
        </p:nvSpPr>
        <p:spPr>
          <a:xfrm>
            <a:off x="10301680" y="136244"/>
            <a:ext cx="17395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Hjärtsvikt - nydebuterad</a:t>
            </a:r>
          </a:p>
        </p:txBody>
      </p:sp>
      <p:sp>
        <p:nvSpPr>
          <p:cNvPr id="2" name="textruta 1"/>
          <p:cNvSpPr txBox="1"/>
          <p:nvPr/>
        </p:nvSpPr>
        <p:spPr>
          <a:xfrm>
            <a:off x="826817" y="1209946"/>
            <a:ext cx="9305925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Förbättra livskvalitet, fysisk kapacitet och överlevnad hos patienter med hjärtsvik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Minska behovet av sjukhusinläggningar hos patienter med hjärtsvik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cs typeface="Arial" panose="020B0604020202020204" pitchFamily="34" charset="0"/>
              </a:rPr>
              <a:t>Öka jämlikheten, effektiviteten och kvaliteten i vården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74</TotalTime>
  <Words>1735</Words>
  <Application>Microsoft Office PowerPoint</Application>
  <PresentationFormat>Bredbild</PresentationFormat>
  <Paragraphs>216</Paragraphs>
  <Slides>18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</vt:i4>
      </vt:variant>
    </vt:vector>
  </HeadingPairs>
  <TitlesOfParts>
    <vt:vector size="25" baseType="lpstr">
      <vt:lpstr>Arial</vt:lpstr>
      <vt:lpstr>Calibri</vt:lpstr>
      <vt:lpstr>Calibri Light</vt:lpstr>
      <vt:lpstr>Times New Roman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Personcentrerat och sammanhållet vårdförlopp för nydebuterad hjärtsvikt</vt:lpstr>
      <vt:lpstr>Nationell variation</vt:lpstr>
      <vt:lpstr>Vårdförloppet utgår från tillförlitliga och aktuella kunskapsstöd och baseras på bästa tillgängliga kunskap</vt:lpstr>
      <vt:lpstr>Nulägesbeskrivning ur ett patientperspektiv</vt:lpstr>
      <vt:lpstr>Varför behövs ett vårdförlopp för nydebuterad hjärtsvikt ?</vt:lpstr>
      <vt:lpstr>Vårdförloppets mål</vt:lpstr>
      <vt:lpstr>Vårdförloppet innehåller flödesschema och åtgärder </vt:lpstr>
      <vt:lpstr>Vårdförloppet lägger tonvikt på</vt:lpstr>
      <vt:lpstr>Patientkontrakt</vt:lpstr>
      <vt:lpstr>Uppföljning för vårdförloppet hjärtsvikt Register- och indikatorbaserad uppföljning av vårdförloppet kräver utvecklingsarbete och aktivt ställningstagande från regionerna. </vt:lpstr>
      <vt:lpstr>Vad blir konsekvenserna?</vt:lpstr>
      <vt:lpstr>Dialog</vt:lpstr>
      <vt:lpstr>Deltagare</vt:lpstr>
      <vt:lpstr>Personcentrerat och sammanhållet vårdförlopp för hjärtsvikt - nydebuterad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Alvarado Lönberg Karin</cp:lastModifiedBy>
  <cp:revision>117</cp:revision>
  <cp:lastPrinted>2021-02-05T07:34:29Z</cp:lastPrinted>
  <dcterms:created xsi:type="dcterms:W3CDTF">2020-05-28T13:45:39Z</dcterms:created>
  <dcterms:modified xsi:type="dcterms:W3CDTF">2021-07-07T16:07:59Z</dcterms:modified>
</cp:coreProperties>
</file>